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D$2:$D$240</c:f>
              <c:numCache>
                <c:formatCode>#,##0</c:formatCode>
                <c:ptCount val="239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40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10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79</c:v>
                </c:pt>
                <c:pt idx="208">
                  <c:v>863</c:v>
                </c:pt>
                <c:pt idx="209">
                  <c:v>867</c:v>
                </c:pt>
                <c:pt idx="210">
                  <c:v>841</c:v>
                </c:pt>
                <c:pt idx="211">
                  <c:v>813</c:v>
                </c:pt>
                <c:pt idx="212">
                  <c:v>793</c:v>
                </c:pt>
                <c:pt idx="213">
                  <c:v>765</c:v>
                </c:pt>
                <c:pt idx="214">
                  <c:v>727</c:v>
                </c:pt>
                <c:pt idx="215">
                  <c:v>716</c:v>
                </c:pt>
                <c:pt idx="216">
                  <c:v>711</c:v>
                </c:pt>
                <c:pt idx="217">
                  <c:v>734</c:v>
                </c:pt>
                <c:pt idx="218">
                  <c:v>709</c:v>
                </c:pt>
                <c:pt idx="219">
                  <c:v>675</c:v>
                </c:pt>
                <c:pt idx="220">
                  <c:v>632</c:v>
                </c:pt>
                <c:pt idx="221">
                  <c:v>609</c:v>
                </c:pt>
                <c:pt idx="222">
                  <c:v>610</c:v>
                </c:pt>
                <c:pt idx="223">
                  <c:v>601</c:v>
                </c:pt>
                <c:pt idx="224">
                  <c:v>579</c:v>
                </c:pt>
                <c:pt idx="225">
                  <c:v>546</c:v>
                </c:pt>
                <c:pt idx="226">
                  <c:v>528</c:v>
                </c:pt>
                <c:pt idx="227">
                  <c:v>522</c:v>
                </c:pt>
                <c:pt idx="228">
                  <c:v>494</c:v>
                </c:pt>
                <c:pt idx="229">
                  <c:v>500</c:v>
                </c:pt>
                <c:pt idx="230">
                  <c:v>497</c:v>
                </c:pt>
                <c:pt idx="231">
                  <c:v>483</c:v>
                </c:pt>
                <c:pt idx="232">
                  <c:v>472</c:v>
                </c:pt>
                <c:pt idx="233">
                  <c:v>415</c:v>
                </c:pt>
                <c:pt idx="234">
                  <c:v>398</c:v>
                </c:pt>
                <c:pt idx="235">
                  <c:v>374</c:v>
                </c:pt>
                <c:pt idx="236">
                  <c:v>369</c:v>
                </c:pt>
                <c:pt idx="237">
                  <c:v>361</c:v>
                </c:pt>
                <c:pt idx="238">
                  <c:v>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3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64E-4549-8673-52F3A517EE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B$2:$B$240</c:f>
              <c:numCache>
                <c:formatCode>#,##0</c:formatCode>
                <c:ptCount val="239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C$2:$C$240</c:f>
              <c:numCache>
                <c:formatCode>#,##0</c:formatCode>
                <c:ptCount val="23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D$2:$D$240</c:f>
              <c:numCache>
                <c:formatCode>#,##0</c:formatCode>
                <c:ptCount val="239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0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60</c:v>
                </c:pt>
                <c:pt idx="138">
                  <c:v>2746</c:v>
                </c:pt>
                <c:pt idx="139">
                  <c:v>2703</c:v>
                </c:pt>
                <c:pt idx="140">
                  <c:v>2641</c:v>
                </c:pt>
                <c:pt idx="141">
                  <c:v>2596</c:v>
                </c:pt>
                <c:pt idx="142">
                  <c:v>2589</c:v>
                </c:pt>
                <c:pt idx="143">
                  <c:v>2553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1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7">
                  <c:v>3353</c:v>
                </c:pt>
                <c:pt idx="208">
                  <c:v>3382</c:v>
                </c:pt>
                <c:pt idx="209">
                  <c:v>3353</c:v>
                </c:pt>
                <c:pt idx="210">
                  <c:v>3279</c:v>
                </c:pt>
                <c:pt idx="211">
                  <c:v>3144</c:v>
                </c:pt>
                <c:pt idx="212">
                  <c:v>2995</c:v>
                </c:pt>
                <c:pt idx="213">
                  <c:v>2812</c:v>
                </c:pt>
                <c:pt idx="214">
                  <c:v>2769</c:v>
                </c:pt>
                <c:pt idx="215">
                  <c:v>2829</c:v>
                </c:pt>
                <c:pt idx="216">
                  <c:v>2844</c:v>
                </c:pt>
                <c:pt idx="217">
                  <c:v>3044</c:v>
                </c:pt>
                <c:pt idx="218">
                  <c:v>2865</c:v>
                </c:pt>
                <c:pt idx="219">
                  <c:v>2687</c:v>
                </c:pt>
                <c:pt idx="220">
                  <c:v>2415</c:v>
                </c:pt>
                <c:pt idx="221">
                  <c:v>2321</c:v>
                </c:pt>
                <c:pt idx="222">
                  <c:v>2337</c:v>
                </c:pt>
                <c:pt idx="223">
                  <c:v>2331</c:v>
                </c:pt>
                <c:pt idx="224">
                  <c:v>2238</c:v>
                </c:pt>
                <c:pt idx="225">
                  <c:v>2109</c:v>
                </c:pt>
                <c:pt idx="226">
                  <c:v>1932</c:v>
                </c:pt>
                <c:pt idx="227">
                  <c:v>1786</c:v>
                </c:pt>
                <c:pt idx="228">
                  <c:v>1750</c:v>
                </c:pt>
                <c:pt idx="229">
                  <c:v>1758</c:v>
                </c:pt>
                <c:pt idx="230">
                  <c:v>1809</c:v>
                </c:pt>
                <c:pt idx="231">
                  <c:v>1704</c:v>
                </c:pt>
                <c:pt idx="232">
                  <c:v>1613</c:v>
                </c:pt>
                <c:pt idx="233">
                  <c:v>1528</c:v>
                </c:pt>
                <c:pt idx="234">
                  <c:v>1429</c:v>
                </c:pt>
                <c:pt idx="235">
                  <c:v>1362</c:v>
                </c:pt>
                <c:pt idx="236">
                  <c:v>1364</c:v>
                </c:pt>
                <c:pt idx="237">
                  <c:v>1316</c:v>
                </c:pt>
                <c:pt idx="238">
                  <c:v>1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38"/>
              <c:layout>
                <c:manualLayout>
                  <c:x val="0"/>
                  <c:y val="-6.7358568222030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85-4547-9260-420F9A27DA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B$2:$B$240</c:f>
              <c:numCache>
                <c:formatCode>#,##0</c:formatCode>
                <c:ptCount val="239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C$2:$C$240</c:f>
              <c:numCache>
                <c:formatCode>#,##0</c:formatCode>
                <c:ptCount val="23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D$2:$D$240</c:f>
              <c:numCache>
                <c:formatCode>#,##0</c:formatCode>
                <c:ptCount val="2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6</c:v>
                </c:pt>
                <c:pt idx="226">
                  <c:v>17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1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20</c:v>
                </c:pt>
                <c:pt idx="235">
                  <c:v>18</c:v>
                </c:pt>
                <c:pt idx="236">
                  <c:v>17</c:v>
                </c:pt>
                <c:pt idx="237">
                  <c:v>16</c:v>
                </c:pt>
                <c:pt idx="238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3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1AC-43E2-98EA-590BE1EE9C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B$2:$B$240</c:f>
              <c:numCache>
                <c:formatCode>#,##0</c:formatCode>
                <c:ptCount val="239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C$2:$C$240</c:f>
              <c:numCache>
                <c:formatCode>#,##0</c:formatCode>
                <c:ptCount val="23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D$2:$D$240</c:f>
              <c:numCache>
                <c:formatCode>#,##0</c:formatCode>
                <c:ptCount val="239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4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10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3</c:v>
                </c:pt>
                <c:pt idx="190">
                  <c:v>1832</c:v>
                </c:pt>
                <c:pt idx="191">
                  <c:v>1821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59</c:v>
                </c:pt>
                <c:pt idx="199">
                  <c:v>1819</c:v>
                </c:pt>
                <c:pt idx="200">
                  <c:v>1780</c:v>
                </c:pt>
                <c:pt idx="201">
                  <c:v>1804</c:v>
                </c:pt>
                <c:pt idx="202">
                  <c:v>1824</c:v>
                </c:pt>
                <c:pt idx="203">
                  <c:v>1776</c:v>
                </c:pt>
                <c:pt idx="204">
                  <c:v>1745</c:v>
                </c:pt>
                <c:pt idx="207">
                  <c:v>1645</c:v>
                </c:pt>
                <c:pt idx="208">
                  <c:v>1655</c:v>
                </c:pt>
                <c:pt idx="209">
                  <c:v>1665</c:v>
                </c:pt>
                <c:pt idx="210">
                  <c:v>1615</c:v>
                </c:pt>
                <c:pt idx="211">
                  <c:v>1557</c:v>
                </c:pt>
                <c:pt idx="212">
                  <c:v>1511</c:v>
                </c:pt>
                <c:pt idx="213">
                  <c:v>1429</c:v>
                </c:pt>
                <c:pt idx="214">
                  <c:v>1403</c:v>
                </c:pt>
                <c:pt idx="215">
                  <c:v>1383</c:v>
                </c:pt>
                <c:pt idx="216">
                  <c:v>1349</c:v>
                </c:pt>
                <c:pt idx="217">
                  <c:v>1399</c:v>
                </c:pt>
                <c:pt idx="218">
                  <c:v>1366</c:v>
                </c:pt>
                <c:pt idx="219">
                  <c:v>1319</c:v>
                </c:pt>
                <c:pt idx="220">
                  <c:v>1240</c:v>
                </c:pt>
                <c:pt idx="221">
                  <c:v>1224</c:v>
                </c:pt>
                <c:pt idx="222">
                  <c:v>1207</c:v>
                </c:pt>
                <c:pt idx="223">
                  <c:v>1193</c:v>
                </c:pt>
                <c:pt idx="224">
                  <c:v>1166</c:v>
                </c:pt>
                <c:pt idx="225">
                  <c:v>1122</c:v>
                </c:pt>
                <c:pt idx="226">
                  <c:v>1044</c:v>
                </c:pt>
                <c:pt idx="227">
                  <c:v>1024</c:v>
                </c:pt>
                <c:pt idx="228">
                  <c:v>982</c:v>
                </c:pt>
                <c:pt idx="229">
                  <c:v>985</c:v>
                </c:pt>
                <c:pt idx="230">
                  <c:v>1002</c:v>
                </c:pt>
                <c:pt idx="231">
                  <c:v>952</c:v>
                </c:pt>
                <c:pt idx="232">
                  <c:v>919</c:v>
                </c:pt>
                <c:pt idx="233">
                  <c:v>836</c:v>
                </c:pt>
                <c:pt idx="234">
                  <c:v>791</c:v>
                </c:pt>
                <c:pt idx="235">
                  <c:v>756</c:v>
                </c:pt>
                <c:pt idx="236">
                  <c:v>767</c:v>
                </c:pt>
                <c:pt idx="237">
                  <c:v>748</c:v>
                </c:pt>
                <c:pt idx="238">
                  <c:v>7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3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461-4F8F-9552-9FB9DDD4C5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B$2:$B$240</c:f>
              <c:numCache>
                <c:formatCode>#,##0</c:formatCode>
                <c:ptCount val="239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0</c:f>
              <c:numCache>
                <c:formatCode>m/d/yyyy</c:formatCode>
                <c:ptCount val="23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</c:numCache>
            </c:numRef>
          </c:cat>
          <c:val>
            <c:numRef>
              <c:f>Sheet1!$C$2:$C$240</c:f>
              <c:numCache>
                <c:formatCode>#,##0</c:formatCode>
                <c:ptCount val="23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8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9874321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17532970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49207049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60203191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53638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6422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90</TotalTime>
  <Words>1040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28</cp:revision>
  <dcterms:created xsi:type="dcterms:W3CDTF">2020-08-08T14:25:07Z</dcterms:created>
  <dcterms:modified xsi:type="dcterms:W3CDTF">2021-04-28T03:16:42Z</dcterms:modified>
</cp:coreProperties>
</file>